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708" r:id="rId1"/>
    <p:sldMasterId id="2147483720" r:id="rId2"/>
    <p:sldMasterId id="2147483723" r:id="rId3"/>
  </p:sldMasterIdLst>
  <p:notesMasterIdLst>
    <p:notesMasterId r:id="rId5"/>
  </p:notesMasterIdLst>
  <p:sldIdLst>
    <p:sldId id="256" r:id="rId4"/>
  </p:sldIdLst>
  <p:sldSz cx="12192000" cy="6858000"/>
  <p:notesSz cx="6858000" cy="9144000"/>
  <p:embeddedFontLst>
    <p:embeddedFont>
      <p:font typeface="Bahnschrift" panose="020B0502040204020203" pitchFamily="34" charset="0"/>
      <p:regular r:id="rId6"/>
      <p:bold r:id="rId7"/>
    </p:embeddedFont>
    <p:embeddedFont>
      <p:font typeface="Calibri" panose="020F0502020204030204" pitchFamily="34" charset="0"/>
      <p:regular r:id="rId8"/>
      <p:bold r:id="rId9"/>
      <p:italic r:id="rId10"/>
      <p:boldItalic r:id="rId11"/>
    </p:embeddedFont>
    <p:embeddedFont>
      <p:font typeface="Calibri Light" panose="020F0302020204030204" pitchFamily="34" charset="0"/>
      <p:regular r:id="rId12"/>
      <p:italic r:id="rId13"/>
    </p:embeddedFont>
    <p:embeddedFont>
      <p:font typeface="Segoe UI" panose="020B0502040204020203" pitchFamily="34" charset="0"/>
      <p:regular r:id="rId14"/>
      <p:bold r:id="rId15"/>
      <p:italic r:id="rId16"/>
      <p:boldItalic r:id="rId17"/>
    </p:embeddedFont>
    <p:embeddedFont>
      <p:font typeface="Trebuchet MS" panose="020B0703020202090204" pitchFamily="34" charset="0"/>
      <p:regular r:id="rId18"/>
      <p:bold r:id="rId19"/>
      <p:italic r:id="rId2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BE6835-0AE6-E447-B477-E973DF49F57D}" v="13" dt="2022-12-29T11:45:50.97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2"/>
    <p:restoredTop sz="94694"/>
  </p:normalViewPr>
  <p:slideViewPr>
    <p:cSldViewPr snapToGrid="0" snapToObjects="1">
      <p:cViewPr varScale="1">
        <p:scale>
          <a:sx n="93" d="100"/>
          <a:sy n="93" d="100"/>
        </p:scale>
        <p:origin x="216" y="5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font" Target="fonts/font8.fntdata"/><Relationship Id="rId18" Type="http://schemas.openxmlformats.org/officeDocument/2006/relationships/font" Target="fonts/font13.fntdata"/><Relationship Id="rId26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font" Target="fonts/font2.fntdata"/><Relationship Id="rId12" Type="http://schemas.openxmlformats.org/officeDocument/2006/relationships/font" Target="fonts/font7.fntdata"/><Relationship Id="rId17" Type="http://schemas.openxmlformats.org/officeDocument/2006/relationships/font" Target="fonts/font12.fntdata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11.fntdata"/><Relationship Id="rId20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24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5" Type="http://schemas.openxmlformats.org/officeDocument/2006/relationships/font" Target="fonts/font10.fntdata"/><Relationship Id="rId23" Type="http://schemas.openxmlformats.org/officeDocument/2006/relationships/theme" Target="theme/theme1.xml"/><Relationship Id="rId10" Type="http://schemas.openxmlformats.org/officeDocument/2006/relationships/font" Target="fonts/font5.fntdata"/><Relationship Id="rId19" Type="http://schemas.openxmlformats.org/officeDocument/2006/relationships/font" Target="fonts/font14.fntdata"/><Relationship Id="rId4" Type="http://schemas.openxmlformats.org/officeDocument/2006/relationships/slide" Target="slides/slide1.xml"/><Relationship Id="rId9" Type="http://schemas.openxmlformats.org/officeDocument/2006/relationships/font" Target="fonts/font4.fntdata"/><Relationship Id="rId14" Type="http://schemas.openxmlformats.org/officeDocument/2006/relationships/font" Target="fonts/font9.fntdata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imothy Cameron" userId="0a62ebdd8cc13424" providerId="LiveId" clId="{53BE6835-0AE6-E447-B477-E973DF49F57D}"/>
    <pc:docChg chg="undo custSel addSld delSld modSld modMainMaster">
      <pc:chgData name="Timothy Cameron" userId="0a62ebdd8cc13424" providerId="LiveId" clId="{53BE6835-0AE6-E447-B477-E973DF49F57D}" dt="2023-01-09T15:40:35.782" v="306" actId="14100"/>
      <pc:docMkLst>
        <pc:docMk/>
      </pc:docMkLst>
      <pc:sldChg chg="addSp delSp modSp mod">
        <pc:chgData name="Timothy Cameron" userId="0a62ebdd8cc13424" providerId="LiveId" clId="{53BE6835-0AE6-E447-B477-E973DF49F57D}" dt="2023-01-09T15:40:35.782" v="306" actId="14100"/>
        <pc:sldMkLst>
          <pc:docMk/>
          <pc:sldMk cId="2213745270" sldId="256"/>
        </pc:sldMkLst>
        <pc:spChg chg="add del mod">
          <ac:chgData name="Timothy Cameron" userId="0a62ebdd8cc13424" providerId="LiveId" clId="{53BE6835-0AE6-E447-B477-E973DF49F57D}" dt="2022-12-29T12:36:59.684" v="71" actId="478"/>
          <ac:spMkLst>
            <pc:docMk/>
            <pc:sldMk cId="2213745270" sldId="256"/>
            <ac:spMk id="2" creationId="{57BB704F-6D43-E199-4899-B9D1EEB76C83}"/>
          </ac:spMkLst>
        </pc:spChg>
        <pc:spChg chg="add del mod">
          <ac:chgData name="Timothy Cameron" userId="0a62ebdd8cc13424" providerId="LiveId" clId="{53BE6835-0AE6-E447-B477-E973DF49F57D}" dt="2022-12-29T11:33:18.316" v="32" actId="478"/>
          <ac:spMkLst>
            <pc:docMk/>
            <pc:sldMk cId="2213745270" sldId="256"/>
            <ac:spMk id="2" creationId="{BE144DD7-D310-F496-F3F2-03AE3BB0164E}"/>
          </ac:spMkLst>
        </pc:spChg>
        <pc:spChg chg="add mod">
          <ac:chgData name="Timothy Cameron" userId="0a62ebdd8cc13424" providerId="LiveId" clId="{53BE6835-0AE6-E447-B477-E973DF49F57D}" dt="2023-01-09T15:40:35.782" v="306" actId="14100"/>
          <ac:spMkLst>
            <pc:docMk/>
            <pc:sldMk cId="2213745270" sldId="256"/>
            <ac:spMk id="2" creationId="{CF323710-99FF-CFD1-5C9B-9E63A5B32DBA}"/>
          </ac:spMkLst>
        </pc:spChg>
        <pc:spChg chg="add del mod">
          <ac:chgData name="Timothy Cameron" userId="0a62ebdd8cc13424" providerId="LiveId" clId="{53BE6835-0AE6-E447-B477-E973DF49F57D}" dt="2022-12-29T11:33:23.277" v="35"/>
          <ac:spMkLst>
            <pc:docMk/>
            <pc:sldMk cId="2213745270" sldId="256"/>
            <ac:spMk id="3" creationId="{735A4A18-6F5F-6B81-8167-D866EFA62C5B}"/>
          </ac:spMkLst>
        </pc:spChg>
        <pc:spChg chg="add del mod">
          <ac:chgData name="Timothy Cameron" userId="0a62ebdd8cc13424" providerId="LiveId" clId="{53BE6835-0AE6-E447-B477-E973DF49F57D}" dt="2022-12-29T11:33:29.928" v="38"/>
          <ac:spMkLst>
            <pc:docMk/>
            <pc:sldMk cId="2213745270" sldId="256"/>
            <ac:spMk id="4" creationId="{05C30A4C-F293-72A4-2D69-90AC12AA941B}"/>
          </ac:spMkLst>
        </pc:spChg>
        <pc:spChg chg="mod">
          <ac:chgData name="Timothy Cameron" userId="0a62ebdd8cc13424" providerId="LiveId" clId="{53BE6835-0AE6-E447-B477-E973DF49F57D}" dt="2023-01-09T13:51:38.067" v="303" actId="1036"/>
          <ac:spMkLst>
            <pc:docMk/>
            <pc:sldMk cId="2213745270" sldId="256"/>
            <ac:spMk id="9" creationId="{A2AA89DE-0DC9-E901-E34C-35902C29014C}"/>
          </ac:spMkLst>
        </pc:spChg>
        <pc:spChg chg="mod">
          <ac:chgData name="Timothy Cameron" userId="0a62ebdd8cc13424" providerId="LiveId" clId="{53BE6835-0AE6-E447-B477-E973DF49F57D}" dt="2023-01-09T13:51:38.067" v="303" actId="1036"/>
          <ac:spMkLst>
            <pc:docMk/>
            <pc:sldMk cId="2213745270" sldId="256"/>
            <ac:spMk id="10" creationId="{E4615DC3-F532-2A93-9601-974573159829}"/>
          </ac:spMkLst>
        </pc:spChg>
      </pc:sldChg>
      <pc:sldChg chg="new del">
        <pc:chgData name="Timothy Cameron" userId="0a62ebdd8cc13424" providerId="LiveId" clId="{53BE6835-0AE6-E447-B477-E973DF49F57D}" dt="2022-12-29T11:35:36.915" v="40" actId="2696"/>
        <pc:sldMkLst>
          <pc:docMk/>
          <pc:sldMk cId="797091839" sldId="257"/>
        </pc:sldMkLst>
      </pc:sldChg>
      <pc:sldChg chg="new del">
        <pc:chgData name="Timothy Cameron" userId="0a62ebdd8cc13424" providerId="LiveId" clId="{53BE6835-0AE6-E447-B477-E973DF49F57D}" dt="2022-12-29T11:32:22.674" v="21" actId="2696"/>
        <pc:sldMkLst>
          <pc:docMk/>
          <pc:sldMk cId="3638695730" sldId="257"/>
        </pc:sldMkLst>
      </pc:sldChg>
      <pc:sldChg chg="addSp delSp modSp new del mod modClrScheme chgLayout">
        <pc:chgData name="Timothy Cameron" userId="0a62ebdd8cc13424" providerId="LiveId" clId="{53BE6835-0AE6-E447-B477-E973DF49F57D}" dt="2022-12-29T11:32:25.902" v="22" actId="2696"/>
        <pc:sldMkLst>
          <pc:docMk/>
          <pc:sldMk cId="3199424425" sldId="258"/>
        </pc:sldMkLst>
        <pc:spChg chg="del mod ord">
          <ac:chgData name="Timothy Cameron" userId="0a62ebdd8cc13424" providerId="LiveId" clId="{53BE6835-0AE6-E447-B477-E973DF49F57D}" dt="2022-12-28T17:21:25.156" v="2" actId="700"/>
          <ac:spMkLst>
            <pc:docMk/>
            <pc:sldMk cId="3199424425" sldId="258"/>
            <ac:spMk id="2" creationId="{5C643821-7A8E-6026-DCEF-9B28774750C1}"/>
          </ac:spMkLst>
        </pc:spChg>
        <pc:spChg chg="del mod ord">
          <ac:chgData name="Timothy Cameron" userId="0a62ebdd8cc13424" providerId="LiveId" clId="{53BE6835-0AE6-E447-B477-E973DF49F57D}" dt="2022-12-28T17:21:25.156" v="2" actId="700"/>
          <ac:spMkLst>
            <pc:docMk/>
            <pc:sldMk cId="3199424425" sldId="258"/>
            <ac:spMk id="3" creationId="{25856E23-6A15-E38E-A096-E2035A9D7628}"/>
          </ac:spMkLst>
        </pc:spChg>
        <pc:spChg chg="add del mod ord">
          <ac:chgData name="Timothy Cameron" userId="0a62ebdd8cc13424" providerId="LiveId" clId="{53BE6835-0AE6-E447-B477-E973DF49F57D}" dt="2022-12-28T17:26:03.221" v="15" actId="700"/>
          <ac:spMkLst>
            <pc:docMk/>
            <pc:sldMk cId="3199424425" sldId="258"/>
            <ac:spMk id="4" creationId="{6F80BBE1-03EE-7803-3809-2C046EF4180D}"/>
          </ac:spMkLst>
        </pc:spChg>
        <pc:spChg chg="add del mod ord">
          <ac:chgData name="Timothy Cameron" userId="0a62ebdd8cc13424" providerId="LiveId" clId="{53BE6835-0AE6-E447-B477-E973DF49F57D}" dt="2022-12-28T17:26:03.221" v="15" actId="700"/>
          <ac:spMkLst>
            <pc:docMk/>
            <pc:sldMk cId="3199424425" sldId="258"/>
            <ac:spMk id="5" creationId="{8DC4CF4D-D61A-4943-2F89-B2CA0649C7A3}"/>
          </ac:spMkLst>
        </pc:spChg>
        <pc:spChg chg="add del mod ord">
          <ac:chgData name="Timothy Cameron" userId="0a62ebdd8cc13424" providerId="LiveId" clId="{53BE6835-0AE6-E447-B477-E973DF49F57D}" dt="2022-12-28T17:26:03.221" v="15" actId="700"/>
          <ac:spMkLst>
            <pc:docMk/>
            <pc:sldMk cId="3199424425" sldId="258"/>
            <ac:spMk id="6" creationId="{EA1A684C-76FF-F840-4286-4D155217E036}"/>
          </ac:spMkLst>
        </pc:spChg>
        <pc:spChg chg="add del mod ord">
          <ac:chgData name="Timothy Cameron" userId="0a62ebdd8cc13424" providerId="LiveId" clId="{53BE6835-0AE6-E447-B477-E973DF49F57D}" dt="2022-12-28T17:26:06.997" v="16" actId="700"/>
          <ac:spMkLst>
            <pc:docMk/>
            <pc:sldMk cId="3199424425" sldId="258"/>
            <ac:spMk id="7" creationId="{F160BDA2-C76D-D4EA-E8EF-E6238EABD03A}"/>
          </ac:spMkLst>
        </pc:spChg>
        <pc:spChg chg="add del mod ord">
          <ac:chgData name="Timothy Cameron" userId="0a62ebdd8cc13424" providerId="LiveId" clId="{53BE6835-0AE6-E447-B477-E973DF49F57D}" dt="2022-12-28T17:26:06.997" v="16" actId="700"/>
          <ac:spMkLst>
            <pc:docMk/>
            <pc:sldMk cId="3199424425" sldId="258"/>
            <ac:spMk id="8" creationId="{44D2EC02-C83E-301F-4501-ACF140FEC6B4}"/>
          </ac:spMkLst>
        </pc:spChg>
        <pc:spChg chg="add del mod ord">
          <ac:chgData name="Timothy Cameron" userId="0a62ebdd8cc13424" providerId="LiveId" clId="{53BE6835-0AE6-E447-B477-E973DF49F57D}" dt="2022-12-28T17:26:10.622" v="17" actId="700"/>
          <ac:spMkLst>
            <pc:docMk/>
            <pc:sldMk cId="3199424425" sldId="258"/>
            <ac:spMk id="9" creationId="{95B32BB6-E63F-D47E-ADAC-FD34174860B5}"/>
          </ac:spMkLst>
        </pc:spChg>
        <pc:spChg chg="add del mod ord">
          <ac:chgData name="Timothy Cameron" userId="0a62ebdd8cc13424" providerId="LiveId" clId="{53BE6835-0AE6-E447-B477-E973DF49F57D}" dt="2022-12-28T17:26:10.622" v="17" actId="700"/>
          <ac:spMkLst>
            <pc:docMk/>
            <pc:sldMk cId="3199424425" sldId="258"/>
            <ac:spMk id="10" creationId="{4D1EE0FC-A2C1-D5C8-9823-765545675FC2}"/>
          </ac:spMkLst>
        </pc:spChg>
        <pc:spChg chg="add del mod ord">
          <ac:chgData name="Timothy Cameron" userId="0a62ebdd8cc13424" providerId="LiveId" clId="{53BE6835-0AE6-E447-B477-E973DF49F57D}" dt="2022-12-28T17:26:12.883" v="18" actId="700"/>
          <ac:spMkLst>
            <pc:docMk/>
            <pc:sldMk cId="3199424425" sldId="258"/>
            <ac:spMk id="11" creationId="{E5453A30-5BB0-78D1-6170-884787F30224}"/>
          </ac:spMkLst>
        </pc:spChg>
        <pc:spChg chg="add del mod ord">
          <ac:chgData name="Timothy Cameron" userId="0a62ebdd8cc13424" providerId="LiveId" clId="{53BE6835-0AE6-E447-B477-E973DF49F57D}" dt="2022-12-28T17:26:12.883" v="18" actId="700"/>
          <ac:spMkLst>
            <pc:docMk/>
            <pc:sldMk cId="3199424425" sldId="258"/>
            <ac:spMk id="12" creationId="{0CBE84CA-E924-91C4-394F-8250F0FF2DC8}"/>
          </ac:spMkLst>
        </pc:spChg>
        <pc:spChg chg="add del mod ord">
          <ac:chgData name="Timothy Cameron" userId="0a62ebdd8cc13424" providerId="LiveId" clId="{53BE6835-0AE6-E447-B477-E973DF49F57D}" dt="2022-12-28T17:26:12.883" v="18" actId="700"/>
          <ac:spMkLst>
            <pc:docMk/>
            <pc:sldMk cId="3199424425" sldId="258"/>
            <ac:spMk id="13" creationId="{377D2A34-C752-A2A6-A509-A4B9A38AD4BA}"/>
          </ac:spMkLst>
        </pc:spChg>
        <pc:spChg chg="add del mod ord">
          <ac:chgData name="Timothy Cameron" userId="0a62ebdd8cc13424" providerId="LiveId" clId="{53BE6835-0AE6-E447-B477-E973DF49F57D}" dt="2022-12-28T17:26:15.021" v="19" actId="700"/>
          <ac:spMkLst>
            <pc:docMk/>
            <pc:sldMk cId="3199424425" sldId="258"/>
            <ac:spMk id="14" creationId="{CA40E58F-636C-BC9E-61E9-E5F9E48DD6E5}"/>
          </ac:spMkLst>
        </pc:spChg>
        <pc:spChg chg="add del mod ord">
          <ac:chgData name="Timothy Cameron" userId="0a62ebdd8cc13424" providerId="LiveId" clId="{53BE6835-0AE6-E447-B477-E973DF49F57D}" dt="2022-12-28T17:26:15.021" v="19" actId="700"/>
          <ac:spMkLst>
            <pc:docMk/>
            <pc:sldMk cId="3199424425" sldId="258"/>
            <ac:spMk id="15" creationId="{C245457F-A631-63BC-5BDD-2D112C7E3DCD}"/>
          </ac:spMkLst>
        </pc:spChg>
        <pc:spChg chg="add del mod ord">
          <ac:chgData name="Timothy Cameron" userId="0a62ebdd8cc13424" providerId="LiveId" clId="{53BE6835-0AE6-E447-B477-E973DF49F57D}" dt="2022-12-28T17:26:15.021" v="19" actId="700"/>
          <ac:spMkLst>
            <pc:docMk/>
            <pc:sldMk cId="3199424425" sldId="258"/>
            <ac:spMk id="16" creationId="{4D0BD3CD-E704-E332-A7F8-59175C5302A1}"/>
          </ac:spMkLst>
        </pc:spChg>
        <pc:spChg chg="add del mod ord">
          <ac:chgData name="Timothy Cameron" userId="0a62ebdd8cc13424" providerId="LiveId" clId="{53BE6835-0AE6-E447-B477-E973DF49F57D}" dt="2022-12-28T17:26:15.021" v="19" actId="700"/>
          <ac:spMkLst>
            <pc:docMk/>
            <pc:sldMk cId="3199424425" sldId="258"/>
            <ac:spMk id="17" creationId="{39DD9362-4560-6C24-0EC7-287783EE5DEB}"/>
          </ac:spMkLst>
        </pc:spChg>
        <pc:spChg chg="add del mod ord">
          <ac:chgData name="Timothy Cameron" userId="0a62ebdd8cc13424" providerId="LiveId" clId="{53BE6835-0AE6-E447-B477-E973DF49F57D}" dt="2022-12-28T17:26:15.021" v="19" actId="700"/>
          <ac:spMkLst>
            <pc:docMk/>
            <pc:sldMk cId="3199424425" sldId="258"/>
            <ac:spMk id="18" creationId="{07251CA1-D0AA-7903-6FA3-1334869A0B93}"/>
          </ac:spMkLst>
        </pc:spChg>
        <pc:spChg chg="add del mod ord">
          <ac:chgData name="Timothy Cameron" userId="0a62ebdd8cc13424" providerId="LiveId" clId="{53BE6835-0AE6-E447-B477-E973DF49F57D}" dt="2022-12-28T17:26:17.137" v="20" actId="700"/>
          <ac:spMkLst>
            <pc:docMk/>
            <pc:sldMk cId="3199424425" sldId="258"/>
            <ac:spMk id="19" creationId="{A166D5A1-2E1B-D082-730D-C17A0F5C0D01}"/>
          </ac:spMkLst>
        </pc:spChg>
      </pc:sldChg>
      <pc:sldMasterChg chg="modSldLayout">
        <pc:chgData name="Timothy Cameron" userId="0a62ebdd8cc13424" providerId="LiveId" clId="{53BE6835-0AE6-E447-B477-E973DF49F57D}" dt="2023-01-09T13:47:16.673" v="258" actId="1035"/>
        <pc:sldMasterMkLst>
          <pc:docMk/>
          <pc:sldMasterMk cId="3699640495" sldId="2147483723"/>
        </pc:sldMasterMkLst>
        <pc:sldLayoutChg chg="addSp delSp modSp mod setBg">
          <pc:chgData name="Timothy Cameron" userId="0a62ebdd8cc13424" providerId="LiveId" clId="{53BE6835-0AE6-E447-B477-E973DF49F57D}" dt="2023-01-09T13:47:16.673" v="258" actId="1035"/>
          <pc:sldLayoutMkLst>
            <pc:docMk/>
            <pc:sldMasterMk cId="3699640495" sldId="2147483723"/>
            <pc:sldLayoutMk cId="1178100099" sldId="2147483724"/>
          </pc:sldLayoutMkLst>
          <pc:spChg chg="add del mod">
            <ac:chgData name="Timothy Cameron" userId="0a62ebdd8cc13424" providerId="LiveId" clId="{53BE6835-0AE6-E447-B477-E973DF49F57D}" dt="2023-01-09T13:47:05.955" v="255" actId="14100"/>
            <ac:spMkLst>
              <pc:docMk/>
              <pc:sldMasterMk cId="3699640495" sldId="2147483723"/>
              <pc:sldLayoutMk cId="1178100099" sldId="2147483724"/>
              <ac:spMk id="2" creationId="{00000000-0000-0000-0000-000000000000}"/>
            </ac:spMkLst>
          </pc:spChg>
          <pc:spChg chg="mod">
            <ac:chgData name="Timothy Cameron" userId="0a62ebdd8cc13424" providerId="LiveId" clId="{53BE6835-0AE6-E447-B477-E973DF49F57D}" dt="2023-01-09T13:47:05.955" v="255" actId="14100"/>
            <ac:spMkLst>
              <pc:docMk/>
              <pc:sldMasterMk cId="3699640495" sldId="2147483723"/>
              <pc:sldLayoutMk cId="1178100099" sldId="2147483724"/>
              <ac:spMk id="3" creationId="{00000000-0000-0000-0000-000000000000}"/>
            </ac:spMkLst>
          </pc:spChg>
          <pc:spChg chg="add mod">
            <ac:chgData name="Timothy Cameron" userId="0a62ebdd8cc13424" providerId="LiveId" clId="{53BE6835-0AE6-E447-B477-E973DF49F57D}" dt="2023-01-09T13:47:16.673" v="258" actId="1035"/>
            <ac:spMkLst>
              <pc:docMk/>
              <pc:sldMasterMk cId="3699640495" sldId="2147483723"/>
              <pc:sldLayoutMk cId="1178100099" sldId="2147483724"/>
              <ac:spMk id="4" creationId="{D7B6EAAD-193A-5993-1B17-B8B64DFD8A46}"/>
            </ac:spMkLst>
          </pc:spChg>
        </pc:sldLayoutChg>
        <pc:sldLayoutChg chg="addSp delSp modSp mod">
          <pc:chgData name="Timothy Cameron" userId="0a62ebdd8cc13424" providerId="LiveId" clId="{53BE6835-0AE6-E447-B477-E973DF49F57D}" dt="2022-12-31T08:39:46.587" v="116" actId="14100"/>
          <pc:sldLayoutMkLst>
            <pc:docMk/>
            <pc:sldMasterMk cId="3699640495" sldId="2147483723"/>
            <pc:sldLayoutMk cId="1047568347" sldId="2147483725"/>
          </pc:sldLayoutMkLst>
          <pc:spChg chg="add del">
            <ac:chgData name="Timothy Cameron" userId="0a62ebdd8cc13424" providerId="LiveId" clId="{53BE6835-0AE6-E447-B477-E973DF49F57D}" dt="2022-12-31T08:39:40.295" v="115" actId="478"/>
            <ac:spMkLst>
              <pc:docMk/>
              <pc:sldMasterMk cId="3699640495" sldId="2147483723"/>
              <pc:sldLayoutMk cId="1047568347" sldId="2147483725"/>
              <ac:spMk id="3" creationId="{00000000-0000-0000-0000-000000000000}"/>
            </ac:spMkLst>
          </pc:spChg>
          <pc:spChg chg="add mod">
            <ac:chgData name="Timothy Cameron" userId="0a62ebdd8cc13424" providerId="LiveId" clId="{53BE6835-0AE6-E447-B477-E973DF49F57D}" dt="2022-12-31T08:39:46.587" v="116" actId="14100"/>
            <ac:spMkLst>
              <pc:docMk/>
              <pc:sldMasterMk cId="3699640495" sldId="2147483723"/>
              <pc:sldLayoutMk cId="1047568347" sldId="2147483725"/>
              <ac:spMk id="7" creationId="{87496E2D-A96B-1749-41F9-16DB13BB3F50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4C87CF-E472-8F46-8C8C-F6A712B0D5A9}" type="datetimeFigureOut">
              <a:rPr lang="en-US" smtClean="0"/>
              <a:t>1/9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38D2CA-FA9A-A844-8C92-9663470C14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8615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38D2CA-FA9A-A844-8C92-9663470C14B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074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BA3804-116A-593A-9926-13C4F99969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4CFECD-2E63-38F8-9058-19CF0FA55C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723B3F-55A5-BED3-F7EA-8545E4A87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9BE5EB-25AD-92D6-5BB0-5B7CA419C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798E25-5FA8-D9D7-8A9A-409230024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822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FC7DA9-C965-0040-A5D8-E8D946BCA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35E157-4AA1-F608-CB52-82001F529D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5CD316-EA07-E121-FACF-A6A16B4A79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252073-B009-B6FB-9A0C-EFFE3E55B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4F6484-D1A2-AA04-7D5B-6C4CB25EE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0274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C3D4A07-D9A6-DAF1-3CCD-1989D4013A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677080-F720-4FDB-B5D3-945225EAF9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E8042C-D186-F0B1-DC55-CA5D47D391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6E73D2-E70F-A7F8-F214-B73E40BF3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77E048-5A3B-A13D-A099-F5C8B2101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0249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407B1E-6427-4C34-9A89-1E8A6754B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2A01C-61EC-4D49-878D-066848BDDCD0}" type="datetimeFigureOut">
              <a:rPr lang="en-ID" smtClean="0"/>
              <a:t>09/01/23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5E90D4-8C75-4436-BFAA-F71273A4F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2F622D-A25F-4DC1-9B66-12C9945E4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785908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D4DD3-678E-4AFD-A40F-E4DACEA77179}" type="datetime1">
              <a:rPr lang="en-US" smtClean="0"/>
              <a:t>1/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0D0FF3-A2B2-493D-8FE0-A9B0D0F67B95}"/>
              </a:ext>
            </a:extLst>
          </p:cNvPr>
          <p:cNvSpPr/>
          <p:nvPr userDrawn="1"/>
        </p:nvSpPr>
        <p:spPr>
          <a:xfrm>
            <a:off x="10223500" y="6356350"/>
            <a:ext cx="1968500" cy="501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ED446B-6B6E-4F72-A142-4F2CFE0B7463}"/>
              </a:ext>
            </a:extLst>
          </p:cNvPr>
          <p:cNvSpPr/>
          <p:nvPr userDrawn="1"/>
        </p:nvSpPr>
        <p:spPr>
          <a:xfrm>
            <a:off x="215900" y="196850"/>
            <a:ext cx="11760200" cy="64643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179AD8-EB94-48B9-85DE-CEB8A1CAEB16}"/>
              </a:ext>
            </a:extLst>
          </p:cNvPr>
          <p:cNvSpPr/>
          <p:nvPr userDrawn="1"/>
        </p:nvSpPr>
        <p:spPr>
          <a:xfrm>
            <a:off x="584200" y="0"/>
            <a:ext cx="292100" cy="1206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240892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4362" y="425675"/>
            <a:ext cx="4884838" cy="2387600"/>
          </a:xfrm>
        </p:spPr>
        <p:txBody>
          <a:bodyPr anchor="b">
            <a:normAutofit/>
          </a:bodyPr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362" y="2905350"/>
            <a:ext cx="4884838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D7B6EAAD-193A-5993-1B17-B8B64DFD8A46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183188" y="424543"/>
            <a:ext cx="6172200" cy="54038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1000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87496E2D-A96B-1749-41F9-16DB13BB3F50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843640" y="1785256"/>
            <a:ext cx="10510159" cy="400627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5683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rgbClr val="2B41B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093885"/>
          </a:xfrm>
        </p:spPr>
        <p:txBody>
          <a:bodyPr/>
          <a:lstStyle>
            <a:lvl1pPr marL="0" indent="0">
              <a:buNone/>
              <a:defRPr sz="2400">
                <a:solidFill>
                  <a:srgbClr val="2B41BC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B41BC"/>
                </a:solidFill>
              </a:defRPr>
            </a:lvl1pPr>
          </a:lstStyle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B41B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B41BC"/>
                </a:solidFill>
              </a:defRPr>
            </a:lvl1pPr>
          </a:lstStyle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1776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7003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4010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5424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57B937-C3F4-F051-E056-F10DACC157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2022A3-1CA7-E45D-19A4-E7F3AB1DA2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E3C8E6-47E2-B3A9-EB6A-BA474DDF6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2AA51-C5A2-AAFC-C759-524AC0587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AA6747-8976-58AD-FBD8-315C35CDF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8191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8937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457201"/>
            <a:ext cx="6172200" cy="54038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1445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457201"/>
            <a:ext cx="6172200" cy="54038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94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0C816-8050-44E0-0B50-7928C47721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18D957-3BCD-649A-845F-D45CB46070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2B80FE-88B7-1D16-4322-AF08BDD34E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B78BA6-EF04-9698-C62A-1CE934987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9797AC-5E45-6C15-0EEC-3056E5340C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5941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44201-438F-65A7-9B70-731DBAD71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AD1E9C-B535-CE07-8402-0B97E0FD06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9AFE8C-2A7E-4C91-58EA-868541A5BF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7D709D-F446-5949-6722-999DBE8C1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C9DEE2-A2B7-0EB1-5C30-29210953F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DE58A0-0161-234A-7D09-E1E4E37DD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6756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8C7B6-683F-5937-3461-742A623E3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6FF785-7790-C63E-D448-050BE460C3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CA74ED-DF82-2F2A-FE20-7429BB6789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87A19B-E0B0-1637-C122-AC945A8A41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026800-92A6-41A2-A970-45FFFDB249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091ED1-4695-FE72-FC9A-3AEE4ED08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B3B6345-F50D-4938-9DDD-395D85897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EB93662-0A60-8302-6B99-B1167B216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3521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E97CB3-F5F6-A2F0-3555-B06BBF4D9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CB5CDB-D9BA-A241-BD1C-A8201BD037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597C7E-14DE-A920-6F42-F3FFE31A2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83B9D2-3446-AEF6-5AD2-640892003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3838" y="6356350"/>
            <a:ext cx="2743200" cy="365125"/>
          </a:xfrm>
        </p:spPr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13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FFD666-9BD8-5EEE-E9C3-4FD0D3CD80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3E2114-85C1-A43D-BAEB-07894EB3C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98E82B-2455-0335-5EB9-C55587B40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6175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1B5EBF-888B-DB8B-76AB-45C980EB0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233736-DD60-FF09-2346-3CD6F49771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88A7EA-1063-5961-62A7-2BF568B976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32E3C8-F431-345C-1C58-CD5B8B3275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13D2B2-A4B5-DE06-1229-098C8B7F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1A6BE5-565A-32F0-5FB1-9F6AA9A5B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0478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AFD19E-BE4B-6BEE-53AE-7406D4BB3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38382F7-6C8D-7849-8F47-E6DC0665C00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0F105-DECE-3555-A4BC-217F969913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D0377F-9182-85F2-3E10-B7CE5FFDAC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BCC02A-E3B2-1FEA-ADE9-1B54958C1D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D66DC9-13A0-4178-9542-66A5A7CCC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8892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hyperlink" Target="http://www.prezentr.com/?utm_source=templates&amp;utm_medium=presentation&amp;utm_campaign=free_downloads_2020" TargetMode="Externa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E26476-4B52-8E75-7F4F-4895B8C5D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96863"/>
            <a:ext cx="11522075" cy="11509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006F6C-5E13-259C-8F43-C175A46F9F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071D0D-1DF4-3A74-6EB6-8874D7CA60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73940D-1EDB-80BA-AC24-A06B26EBB7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102402-0D43-1859-F7EC-DEA6B56D2F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0A11648-5179-F6E5-DB6F-C2BABFE0493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76470"/>
            <a:ext cx="2906917" cy="800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56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187">
          <p15:clr>
            <a:srgbClr val="F26B43"/>
          </p15:clr>
        </p15:guide>
        <p15:guide id="4" orient="horz" pos="397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853DF03-CD76-4B5A-8EB3-63B382E1319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7589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853DF03-CD76-4B5A-8EB3-63B382E131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183CDAB-5319-4127-A949-FD374215343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D28C36-06A6-4687-99BA-A709C0EB5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D70-3CB1-4CF2-B956-6C0AF1AA7F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9440B9-E739-4FE5-9BD0-8C11247179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32A01C-61EC-4D49-878D-066848BDDCD0}" type="datetimeFigureOut">
              <a:rPr lang="en-ID" smtClean="0"/>
              <a:t>09/01/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439059-A5DB-4AFA-87B8-190DB28F7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099BD2-E85E-4D1D-BA49-DDEA0BA69E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B828C7-9901-42AB-BCDB-95692AF75EF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41579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789611"/>
            <a:ext cx="10515600" cy="40062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03279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1ED65F"/>
                </a:solidFill>
              </a:defRPr>
            </a:lvl1pPr>
          </a:lstStyle>
          <a:p>
            <a:fld id="{88E9572A-BB58-BE45-ABD0-0BD82BC66996}" type="datetimeFigureOut">
              <a:rPr lang="en-US" smtClean="0"/>
              <a:t>1/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03279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1ED65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032790"/>
            <a:ext cx="660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1ED65F"/>
                </a:solidFill>
              </a:defRPr>
            </a:lvl1pPr>
          </a:lstStyle>
          <a:p>
            <a:fld id="{B869602D-FC13-BD47-86EF-3C0D41C60674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610475" y="4914981"/>
            <a:ext cx="896556" cy="32439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 rot="16200000">
            <a:off x="-2113768" y="2546065"/>
            <a:ext cx="3888671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bs-Latn-BA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nd</a:t>
            </a:r>
            <a:r>
              <a:rPr lang="bs-Latn-BA" sz="1200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m</a:t>
            </a:r>
            <a:r>
              <a:rPr lang="bs-Latn-BA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re PowerPoint templates</a:t>
            </a:r>
            <a:r>
              <a:rPr lang="bs-Latn-BA" sz="1200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on </a:t>
            </a:r>
            <a:r>
              <a:rPr lang="bs-Latn-BA" sz="1200" b="1" baseline="0" dirty="0">
                <a:solidFill>
                  <a:schemeClr val="tx1">
                    <a:lumMod val="50000"/>
                    <a:lumOff val="50000"/>
                  </a:schemeClr>
                </a:solidFill>
                <a:hlinkClick r:id="rId13"/>
              </a:rPr>
              <a:t>prezentr.com</a:t>
            </a:r>
            <a:r>
              <a:rPr lang="bs-Latn-BA" sz="1200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!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640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1ED65F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2AA89DE-0DC9-E901-E34C-35902C2901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362" y="2359980"/>
            <a:ext cx="4884838" cy="2387600"/>
          </a:xfrm>
        </p:spPr>
        <p:txBody>
          <a:bodyPr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E4615DC3-F532-2A93-9601-9745731598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362" y="4839655"/>
            <a:ext cx="4884838" cy="1655762"/>
          </a:xfrm>
        </p:spPr>
        <p:txBody>
          <a:bodyPr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F323710-99FF-CFD1-5C9B-9E63A5B32DBA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183188" y="424543"/>
            <a:ext cx="6098400" cy="6098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745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2IWFFnY9pdUs5SHwuB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Custom 2">
      <a:majorFont>
        <a:latin typeface="Bahnschrif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O-PowerPoint-Template" id="{413F8F97-D304-0541-9E0C-2EBBDF578B15}" vid="{09FEBD21-BBC7-E944-9DCB-094349EBD980}"/>
    </a:ext>
  </a:extLst>
</a:theme>
</file>

<file path=ppt/theme/theme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potify Ppt-creative</Template>
  <TotalTime>530</TotalTime>
  <Words>6</Words>
  <Application>Microsoft Macintosh PowerPoint</Application>
  <PresentationFormat>Widescreen</PresentationFormat>
  <Paragraphs>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Calibri</vt:lpstr>
      <vt:lpstr>Bahnschrift</vt:lpstr>
      <vt:lpstr>Segoe UI</vt:lpstr>
      <vt:lpstr>Calibri Light</vt:lpstr>
      <vt:lpstr>Trebuchet MS</vt:lpstr>
      <vt:lpstr>Arial</vt:lpstr>
      <vt:lpstr>Office Theme</vt:lpstr>
      <vt:lpstr>1_Office Theme</vt:lpstr>
      <vt:lpstr>2_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imothy Cameron</dc:creator>
  <cp:lastModifiedBy>Timothy Cameron</cp:lastModifiedBy>
  <cp:revision>1</cp:revision>
  <dcterms:created xsi:type="dcterms:W3CDTF">2022-12-28T09:01:09Z</dcterms:created>
  <dcterms:modified xsi:type="dcterms:W3CDTF">2023-01-09T15:40:41Z</dcterms:modified>
</cp:coreProperties>
</file>